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sldIdLst>
    <p:sldId id="259" r:id="rId2"/>
    <p:sldId id="256" r:id="rId3"/>
  </p:sldIdLst>
  <p:sldSz cx="10688638" cy="7562850"/>
  <p:notesSz cx="9236075" cy="6954838"/>
  <p:custDataLst>
    <p:tags r:id="rId4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382" userDrawn="1">
          <p15:clr>
            <a:srgbClr val="A4A3A4"/>
          </p15:clr>
        </p15:guide>
        <p15:guide id="2" pos="3366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>
        <p:scale>
          <a:sx n="60" d="100"/>
          <a:sy n="60" d="100"/>
        </p:scale>
        <p:origin x="1440" y="546"/>
      </p:cViewPr>
      <p:guideLst>
        <p:guide orient="horz" pos="2382"/>
        <p:guide pos="3366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01648" y="1237717"/>
            <a:ext cx="9085342" cy="2632992"/>
          </a:xfrm>
        </p:spPr>
        <p:txBody>
          <a:bodyPr anchor="b"/>
          <a:lstStyle>
            <a:lvl1pPr algn="ctr">
              <a:defRPr sz="6617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080" y="3972247"/>
            <a:ext cx="8016479" cy="1825938"/>
          </a:xfrm>
        </p:spPr>
        <p:txBody>
          <a:bodyPr/>
          <a:lstStyle>
            <a:lvl1pPr marL="0" indent="0" algn="ctr">
              <a:buNone/>
              <a:defRPr sz="2647"/>
            </a:lvl1pPr>
            <a:lvl2pPr marL="504200" indent="0" algn="ctr">
              <a:buNone/>
              <a:defRPr sz="2206"/>
            </a:lvl2pPr>
            <a:lvl3pPr marL="1008400" indent="0" algn="ctr">
              <a:buNone/>
              <a:defRPr sz="1985"/>
            </a:lvl3pPr>
            <a:lvl4pPr marL="1512600" indent="0" algn="ctr">
              <a:buNone/>
              <a:defRPr sz="1764"/>
            </a:lvl4pPr>
            <a:lvl5pPr marL="2016801" indent="0" algn="ctr">
              <a:buNone/>
              <a:defRPr sz="1764"/>
            </a:lvl5pPr>
            <a:lvl6pPr marL="2521001" indent="0" algn="ctr">
              <a:buNone/>
              <a:defRPr sz="1764"/>
            </a:lvl6pPr>
            <a:lvl7pPr marL="3025201" indent="0" algn="ctr">
              <a:buNone/>
              <a:defRPr sz="1764"/>
            </a:lvl7pPr>
            <a:lvl8pPr marL="3529401" indent="0" algn="ctr">
              <a:buNone/>
              <a:defRPr sz="1764"/>
            </a:lvl8pPr>
            <a:lvl9pPr marL="4033601" indent="0" algn="ctr">
              <a:buNone/>
              <a:defRPr sz="1764"/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4C006C-5D06-4430-ACA7-21EC29CA85BC}" type="datetimeFigureOut">
              <a:rPr lang="en-US" smtClean="0"/>
              <a:t>8/3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FF9002-0937-4B3E-A7C3-BDC2CC6E65E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3352421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4C006C-5D06-4430-ACA7-21EC29CA85BC}" type="datetimeFigureOut">
              <a:rPr lang="en-US" smtClean="0"/>
              <a:t>8/3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FF9002-0937-4B3E-A7C3-BDC2CC6E65E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8566942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649057" y="402652"/>
            <a:ext cx="2304738" cy="6409166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734844" y="402652"/>
            <a:ext cx="6780605" cy="6409166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4C006C-5D06-4430-ACA7-21EC29CA85BC}" type="datetimeFigureOut">
              <a:rPr lang="en-US" smtClean="0"/>
              <a:t>8/3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FF9002-0937-4B3E-A7C3-BDC2CC6E65E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14051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4C006C-5D06-4430-ACA7-21EC29CA85BC}" type="datetimeFigureOut">
              <a:rPr lang="en-US" smtClean="0"/>
              <a:t>8/3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FF9002-0937-4B3E-A7C3-BDC2CC6E65E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6156012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9278" y="1885463"/>
            <a:ext cx="9218950" cy="3145935"/>
          </a:xfrm>
        </p:spPr>
        <p:txBody>
          <a:bodyPr anchor="b"/>
          <a:lstStyle>
            <a:lvl1pPr>
              <a:defRPr sz="6617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9278" y="5061159"/>
            <a:ext cx="9218950" cy="1654373"/>
          </a:xfrm>
        </p:spPr>
        <p:txBody>
          <a:bodyPr/>
          <a:lstStyle>
            <a:lvl1pPr marL="0" indent="0">
              <a:buNone/>
              <a:defRPr sz="2647">
                <a:solidFill>
                  <a:schemeClr val="tx1"/>
                </a:solidFill>
              </a:defRPr>
            </a:lvl1pPr>
            <a:lvl2pPr marL="504200" indent="0">
              <a:buNone/>
              <a:defRPr sz="2206">
                <a:solidFill>
                  <a:schemeClr val="tx1">
                    <a:tint val="75000"/>
                  </a:schemeClr>
                </a:solidFill>
              </a:defRPr>
            </a:lvl2pPr>
            <a:lvl3pPr marL="1008400" indent="0">
              <a:buNone/>
              <a:defRPr sz="1985">
                <a:solidFill>
                  <a:schemeClr val="tx1">
                    <a:tint val="75000"/>
                  </a:schemeClr>
                </a:solidFill>
              </a:defRPr>
            </a:lvl3pPr>
            <a:lvl4pPr marL="1512600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4pPr>
            <a:lvl5pPr marL="2016801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5pPr>
            <a:lvl6pPr marL="2521001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6pPr>
            <a:lvl7pPr marL="3025201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7pPr>
            <a:lvl8pPr marL="3529401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8pPr>
            <a:lvl9pPr marL="4033601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4C006C-5D06-4430-ACA7-21EC29CA85BC}" type="datetimeFigureOut">
              <a:rPr lang="en-US" smtClean="0"/>
              <a:t>8/3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FF9002-0937-4B3E-A7C3-BDC2CC6E65E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5783975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34844" y="2013259"/>
            <a:ext cx="4542671" cy="479855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411123" y="2013259"/>
            <a:ext cx="4542671" cy="479855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4C006C-5D06-4430-ACA7-21EC29CA85BC}" type="datetimeFigureOut">
              <a:rPr lang="en-US" smtClean="0"/>
              <a:t>8/3/201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FF9002-0937-4B3E-A7C3-BDC2CC6E65E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354675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6236" y="402654"/>
            <a:ext cx="9218950" cy="1461801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36237" y="1853949"/>
            <a:ext cx="4521794" cy="908592"/>
          </a:xfrm>
        </p:spPr>
        <p:txBody>
          <a:bodyPr anchor="b"/>
          <a:lstStyle>
            <a:lvl1pPr marL="0" indent="0">
              <a:buNone/>
              <a:defRPr sz="2647" b="1"/>
            </a:lvl1pPr>
            <a:lvl2pPr marL="504200" indent="0">
              <a:buNone/>
              <a:defRPr sz="2206" b="1"/>
            </a:lvl2pPr>
            <a:lvl3pPr marL="1008400" indent="0">
              <a:buNone/>
              <a:defRPr sz="1985" b="1"/>
            </a:lvl3pPr>
            <a:lvl4pPr marL="1512600" indent="0">
              <a:buNone/>
              <a:defRPr sz="1764" b="1"/>
            </a:lvl4pPr>
            <a:lvl5pPr marL="2016801" indent="0">
              <a:buNone/>
              <a:defRPr sz="1764" b="1"/>
            </a:lvl5pPr>
            <a:lvl6pPr marL="2521001" indent="0">
              <a:buNone/>
              <a:defRPr sz="1764" b="1"/>
            </a:lvl6pPr>
            <a:lvl7pPr marL="3025201" indent="0">
              <a:buNone/>
              <a:defRPr sz="1764" b="1"/>
            </a:lvl7pPr>
            <a:lvl8pPr marL="3529401" indent="0">
              <a:buNone/>
              <a:defRPr sz="1764" b="1"/>
            </a:lvl8pPr>
            <a:lvl9pPr marL="4033601" indent="0">
              <a:buNone/>
              <a:defRPr sz="1764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36237" y="2762541"/>
            <a:ext cx="4521794" cy="406328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411124" y="1853949"/>
            <a:ext cx="4544063" cy="908592"/>
          </a:xfrm>
        </p:spPr>
        <p:txBody>
          <a:bodyPr anchor="b"/>
          <a:lstStyle>
            <a:lvl1pPr marL="0" indent="0">
              <a:buNone/>
              <a:defRPr sz="2647" b="1"/>
            </a:lvl1pPr>
            <a:lvl2pPr marL="504200" indent="0">
              <a:buNone/>
              <a:defRPr sz="2206" b="1"/>
            </a:lvl2pPr>
            <a:lvl3pPr marL="1008400" indent="0">
              <a:buNone/>
              <a:defRPr sz="1985" b="1"/>
            </a:lvl3pPr>
            <a:lvl4pPr marL="1512600" indent="0">
              <a:buNone/>
              <a:defRPr sz="1764" b="1"/>
            </a:lvl4pPr>
            <a:lvl5pPr marL="2016801" indent="0">
              <a:buNone/>
              <a:defRPr sz="1764" b="1"/>
            </a:lvl5pPr>
            <a:lvl6pPr marL="2521001" indent="0">
              <a:buNone/>
              <a:defRPr sz="1764" b="1"/>
            </a:lvl6pPr>
            <a:lvl7pPr marL="3025201" indent="0">
              <a:buNone/>
              <a:defRPr sz="1764" b="1"/>
            </a:lvl7pPr>
            <a:lvl8pPr marL="3529401" indent="0">
              <a:buNone/>
              <a:defRPr sz="1764" b="1"/>
            </a:lvl8pPr>
            <a:lvl9pPr marL="4033601" indent="0">
              <a:buNone/>
              <a:defRPr sz="1764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411124" y="2762541"/>
            <a:ext cx="4544063" cy="406328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4C006C-5D06-4430-ACA7-21EC29CA85BC}" type="datetimeFigureOut">
              <a:rPr lang="en-US" smtClean="0"/>
              <a:t>8/3/2016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FF9002-0937-4B3E-A7C3-BDC2CC6E65E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3108389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4C006C-5D06-4430-ACA7-21EC29CA85BC}" type="datetimeFigureOut">
              <a:rPr lang="en-US" smtClean="0"/>
              <a:t>8/3/2016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FF9002-0937-4B3E-A7C3-BDC2CC6E65E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5313946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4C006C-5D06-4430-ACA7-21EC29CA85BC}" type="datetimeFigureOut">
              <a:rPr lang="en-US" smtClean="0"/>
              <a:t>8/3/2016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FF9002-0937-4B3E-A7C3-BDC2CC6E65E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915627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6236" y="504190"/>
            <a:ext cx="3447364" cy="1764665"/>
          </a:xfrm>
        </p:spPr>
        <p:txBody>
          <a:bodyPr anchor="b"/>
          <a:lstStyle>
            <a:lvl1pPr>
              <a:defRPr sz="3529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44063" y="1088912"/>
            <a:ext cx="5411123" cy="5374525"/>
          </a:xfrm>
        </p:spPr>
        <p:txBody>
          <a:bodyPr/>
          <a:lstStyle>
            <a:lvl1pPr>
              <a:defRPr sz="3529"/>
            </a:lvl1pPr>
            <a:lvl2pPr>
              <a:defRPr sz="3088"/>
            </a:lvl2pPr>
            <a:lvl3pPr>
              <a:defRPr sz="2647"/>
            </a:lvl3pPr>
            <a:lvl4pPr>
              <a:defRPr sz="2206"/>
            </a:lvl4pPr>
            <a:lvl5pPr>
              <a:defRPr sz="2206"/>
            </a:lvl5pPr>
            <a:lvl6pPr>
              <a:defRPr sz="2206"/>
            </a:lvl6pPr>
            <a:lvl7pPr>
              <a:defRPr sz="2206"/>
            </a:lvl7pPr>
            <a:lvl8pPr>
              <a:defRPr sz="2206"/>
            </a:lvl8pPr>
            <a:lvl9pPr>
              <a:defRPr sz="2206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736236" y="2268855"/>
            <a:ext cx="3447364" cy="4203335"/>
          </a:xfrm>
        </p:spPr>
        <p:txBody>
          <a:bodyPr/>
          <a:lstStyle>
            <a:lvl1pPr marL="0" indent="0">
              <a:buNone/>
              <a:defRPr sz="1764"/>
            </a:lvl1pPr>
            <a:lvl2pPr marL="504200" indent="0">
              <a:buNone/>
              <a:defRPr sz="1544"/>
            </a:lvl2pPr>
            <a:lvl3pPr marL="1008400" indent="0">
              <a:buNone/>
              <a:defRPr sz="1323"/>
            </a:lvl3pPr>
            <a:lvl4pPr marL="1512600" indent="0">
              <a:buNone/>
              <a:defRPr sz="1103"/>
            </a:lvl4pPr>
            <a:lvl5pPr marL="2016801" indent="0">
              <a:buNone/>
              <a:defRPr sz="1103"/>
            </a:lvl5pPr>
            <a:lvl6pPr marL="2521001" indent="0">
              <a:buNone/>
              <a:defRPr sz="1103"/>
            </a:lvl6pPr>
            <a:lvl7pPr marL="3025201" indent="0">
              <a:buNone/>
              <a:defRPr sz="1103"/>
            </a:lvl7pPr>
            <a:lvl8pPr marL="3529401" indent="0">
              <a:buNone/>
              <a:defRPr sz="1103"/>
            </a:lvl8pPr>
            <a:lvl9pPr marL="4033601" indent="0">
              <a:buNone/>
              <a:defRPr sz="1103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4C006C-5D06-4430-ACA7-21EC29CA85BC}" type="datetimeFigureOut">
              <a:rPr lang="en-US" smtClean="0"/>
              <a:t>8/3/201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FF9002-0937-4B3E-A7C3-BDC2CC6E65E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5011732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6236" y="504190"/>
            <a:ext cx="3447364" cy="1764665"/>
          </a:xfrm>
        </p:spPr>
        <p:txBody>
          <a:bodyPr anchor="b"/>
          <a:lstStyle>
            <a:lvl1pPr>
              <a:defRPr sz="3529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4544063" y="1088912"/>
            <a:ext cx="5411123" cy="5374525"/>
          </a:xfrm>
        </p:spPr>
        <p:txBody>
          <a:bodyPr anchor="t"/>
          <a:lstStyle>
            <a:lvl1pPr marL="0" indent="0">
              <a:buNone/>
              <a:defRPr sz="3529"/>
            </a:lvl1pPr>
            <a:lvl2pPr marL="504200" indent="0">
              <a:buNone/>
              <a:defRPr sz="3088"/>
            </a:lvl2pPr>
            <a:lvl3pPr marL="1008400" indent="0">
              <a:buNone/>
              <a:defRPr sz="2647"/>
            </a:lvl3pPr>
            <a:lvl4pPr marL="1512600" indent="0">
              <a:buNone/>
              <a:defRPr sz="2206"/>
            </a:lvl4pPr>
            <a:lvl5pPr marL="2016801" indent="0">
              <a:buNone/>
              <a:defRPr sz="2206"/>
            </a:lvl5pPr>
            <a:lvl6pPr marL="2521001" indent="0">
              <a:buNone/>
              <a:defRPr sz="2206"/>
            </a:lvl6pPr>
            <a:lvl7pPr marL="3025201" indent="0">
              <a:buNone/>
              <a:defRPr sz="2206"/>
            </a:lvl7pPr>
            <a:lvl8pPr marL="3529401" indent="0">
              <a:buNone/>
              <a:defRPr sz="2206"/>
            </a:lvl8pPr>
            <a:lvl9pPr marL="4033601" indent="0">
              <a:buNone/>
              <a:defRPr sz="2206"/>
            </a:lvl9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736236" y="2268855"/>
            <a:ext cx="3447364" cy="4203335"/>
          </a:xfrm>
        </p:spPr>
        <p:txBody>
          <a:bodyPr/>
          <a:lstStyle>
            <a:lvl1pPr marL="0" indent="0">
              <a:buNone/>
              <a:defRPr sz="1764"/>
            </a:lvl1pPr>
            <a:lvl2pPr marL="504200" indent="0">
              <a:buNone/>
              <a:defRPr sz="1544"/>
            </a:lvl2pPr>
            <a:lvl3pPr marL="1008400" indent="0">
              <a:buNone/>
              <a:defRPr sz="1323"/>
            </a:lvl3pPr>
            <a:lvl4pPr marL="1512600" indent="0">
              <a:buNone/>
              <a:defRPr sz="1103"/>
            </a:lvl4pPr>
            <a:lvl5pPr marL="2016801" indent="0">
              <a:buNone/>
              <a:defRPr sz="1103"/>
            </a:lvl5pPr>
            <a:lvl6pPr marL="2521001" indent="0">
              <a:buNone/>
              <a:defRPr sz="1103"/>
            </a:lvl6pPr>
            <a:lvl7pPr marL="3025201" indent="0">
              <a:buNone/>
              <a:defRPr sz="1103"/>
            </a:lvl7pPr>
            <a:lvl8pPr marL="3529401" indent="0">
              <a:buNone/>
              <a:defRPr sz="1103"/>
            </a:lvl8pPr>
            <a:lvl9pPr marL="4033601" indent="0">
              <a:buNone/>
              <a:defRPr sz="1103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4C006C-5D06-4430-ACA7-21EC29CA85BC}" type="datetimeFigureOut">
              <a:rPr lang="en-US" smtClean="0"/>
              <a:t>8/3/201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FF9002-0937-4B3E-A7C3-BDC2CC6E65E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8148723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83052019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0" name="think-cell Slide" r:id="rId15" imgW="493" imgH="493" progId="TCLayout.ActiveDocument.1">
                  <p:embed/>
                </p:oleObj>
              </mc:Choice>
              <mc:Fallback>
                <p:oleObj name="think-cell Slide" r:id="rId15" imgW="493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34844" y="402654"/>
            <a:ext cx="9218950" cy="146180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34844" y="2013259"/>
            <a:ext cx="9218950" cy="479855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34844" y="7009643"/>
            <a:ext cx="2404944" cy="40265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323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04C006C-5D06-4430-ACA7-21EC29CA85BC}" type="datetimeFigureOut">
              <a:rPr lang="en-US" smtClean="0"/>
              <a:t>8/3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540612" y="7009643"/>
            <a:ext cx="3607415" cy="40265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323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548850" y="7009643"/>
            <a:ext cx="2404944" cy="40265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23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0FF9002-0937-4B3E-A7C3-BDC2CC6E65E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487020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defTabSz="1008400" rtl="0" eaLnBrk="1" latinLnBrk="0" hangingPunct="1">
        <a:lnSpc>
          <a:spcPct val="90000"/>
        </a:lnSpc>
        <a:spcBef>
          <a:spcPct val="0"/>
        </a:spcBef>
        <a:buNone/>
        <a:defRPr sz="4852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2100" indent="-252100" algn="l" defTabSz="1008400" rtl="0" eaLnBrk="1" latinLnBrk="0" hangingPunct="1">
        <a:lnSpc>
          <a:spcPct val="90000"/>
        </a:lnSpc>
        <a:spcBef>
          <a:spcPts val="1103"/>
        </a:spcBef>
        <a:buFont typeface="Arial" panose="020B0604020202020204" pitchFamily="34" charset="0"/>
        <a:buChar char="•"/>
        <a:defRPr sz="3088" kern="1200">
          <a:solidFill>
            <a:schemeClr val="tx1"/>
          </a:solidFill>
          <a:latin typeface="+mn-lt"/>
          <a:ea typeface="+mn-ea"/>
          <a:cs typeface="+mn-cs"/>
        </a:defRPr>
      </a:lvl1pPr>
      <a:lvl2pPr marL="756300" indent="-252100" algn="l" defTabSz="1008400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2647" kern="1200">
          <a:solidFill>
            <a:schemeClr val="tx1"/>
          </a:solidFill>
          <a:latin typeface="+mn-lt"/>
          <a:ea typeface="+mn-ea"/>
          <a:cs typeface="+mn-cs"/>
        </a:defRPr>
      </a:lvl2pPr>
      <a:lvl3pPr marL="1260500" indent="-252100" algn="l" defTabSz="1008400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2206" kern="1200">
          <a:solidFill>
            <a:schemeClr val="tx1"/>
          </a:solidFill>
          <a:latin typeface="+mn-lt"/>
          <a:ea typeface="+mn-ea"/>
          <a:cs typeface="+mn-cs"/>
        </a:defRPr>
      </a:lvl3pPr>
      <a:lvl4pPr marL="1764701" indent="-252100" algn="l" defTabSz="1008400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5" kern="1200">
          <a:solidFill>
            <a:schemeClr val="tx1"/>
          </a:solidFill>
          <a:latin typeface="+mn-lt"/>
          <a:ea typeface="+mn-ea"/>
          <a:cs typeface="+mn-cs"/>
        </a:defRPr>
      </a:lvl4pPr>
      <a:lvl5pPr marL="2268901" indent="-252100" algn="l" defTabSz="1008400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5" kern="1200">
          <a:solidFill>
            <a:schemeClr val="tx1"/>
          </a:solidFill>
          <a:latin typeface="+mn-lt"/>
          <a:ea typeface="+mn-ea"/>
          <a:cs typeface="+mn-cs"/>
        </a:defRPr>
      </a:lvl5pPr>
      <a:lvl6pPr marL="2773101" indent="-252100" algn="l" defTabSz="1008400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5" kern="1200">
          <a:solidFill>
            <a:schemeClr val="tx1"/>
          </a:solidFill>
          <a:latin typeface="+mn-lt"/>
          <a:ea typeface="+mn-ea"/>
          <a:cs typeface="+mn-cs"/>
        </a:defRPr>
      </a:lvl6pPr>
      <a:lvl7pPr marL="3277301" indent="-252100" algn="l" defTabSz="1008400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5" kern="1200">
          <a:solidFill>
            <a:schemeClr val="tx1"/>
          </a:solidFill>
          <a:latin typeface="+mn-lt"/>
          <a:ea typeface="+mn-ea"/>
          <a:cs typeface="+mn-cs"/>
        </a:defRPr>
      </a:lvl7pPr>
      <a:lvl8pPr marL="3781501" indent="-252100" algn="l" defTabSz="1008400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5" kern="1200">
          <a:solidFill>
            <a:schemeClr val="tx1"/>
          </a:solidFill>
          <a:latin typeface="+mn-lt"/>
          <a:ea typeface="+mn-ea"/>
          <a:cs typeface="+mn-cs"/>
        </a:defRPr>
      </a:lvl8pPr>
      <a:lvl9pPr marL="4285701" indent="-252100" algn="l" defTabSz="1008400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08400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1pPr>
      <a:lvl2pPr marL="504200" algn="l" defTabSz="1008400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2pPr>
      <a:lvl3pPr marL="1008400" algn="l" defTabSz="1008400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3pPr>
      <a:lvl4pPr marL="1512600" algn="l" defTabSz="1008400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4pPr>
      <a:lvl5pPr marL="2016801" algn="l" defTabSz="1008400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5pPr>
      <a:lvl6pPr marL="2521001" algn="l" defTabSz="1008400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6pPr>
      <a:lvl7pPr marL="3025201" algn="l" defTabSz="1008400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7pPr>
      <a:lvl8pPr marL="3529401" algn="l" defTabSz="1008400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8pPr>
      <a:lvl9pPr marL="4033601" algn="l" defTabSz="1008400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5.xml"/><Relationship Id="rId7" Type="http://schemas.openxmlformats.org/officeDocument/2006/relationships/image" Target="../media/image2.jpeg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slideLayout" Target="../slideLayouts/slideLayout6.xml"/><Relationship Id="rId5" Type="http://schemas.openxmlformats.org/officeDocument/2006/relationships/tags" Target="../tags/tag7.xml"/><Relationship Id="rId4" Type="http://schemas.openxmlformats.org/officeDocument/2006/relationships/tags" Target="../tags/tag6.xml"/><Relationship Id="rId9" Type="http://schemas.openxmlformats.org/officeDocument/2006/relationships/image" Target="../media/image4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tags" Target="../tags/tag9.xml"/><Relationship Id="rId7" Type="http://schemas.openxmlformats.org/officeDocument/2006/relationships/image" Target="../media/image1.emf"/><Relationship Id="rId2" Type="http://schemas.openxmlformats.org/officeDocument/2006/relationships/tags" Target="../tags/tag8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slideLayout" Target="../slideLayouts/slideLayout6.xml"/><Relationship Id="rId4" Type="http://schemas.openxmlformats.org/officeDocument/2006/relationships/tags" Target="../tags/tag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 descr="http://i.imgur.com/v7KHGGb.jp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10688638" cy="75628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1"/>
          <p:cNvSpPr txBox="1"/>
          <p:nvPr>
            <p:custDataLst>
              <p:tags r:id="rId1"/>
            </p:custDataLst>
          </p:nvPr>
        </p:nvSpPr>
        <p:spPr>
          <a:xfrm>
            <a:off x="127000" y="127508"/>
            <a:ext cx="3340100" cy="7327900"/>
          </a:xfrm>
          <a:prstGeom prst="rect">
            <a:avLst/>
          </a:prstGeom>
          <a:noFill/>
          <a:ln w="76200">
            <a:solidFill>
              <a:schemeClr val="bg1"/>
            </a:solidFill>
          </a:ln>
        </p:spPr>
        <p:txBody>
          <a:bodyPr vert="horz" lIns="76200" tIns="76200" rIns="76200" bIns="76200" rtlCol="0" anchor="t" anchorCtr="0">
            <a:noAutofit/>
          </a:bodyPr>
          <a:lstStyle>
            <a:lvl1pPr marL="252100" lvl="0" indent="-252100" defTabSz="1008400">
              <a:lnSpc>
                <a:spcPct val="90000"/>
              </a:lnSpc>
              <a:spcBef>
                <a:spcPts val="1103"/>
              </a:spcBef>
              <a:buFont typeface="Arial" panose="020B0604020202020204" pitchFamily="34" charset="0"/>
              <a:buChar char="•"/>
              <a:defRPr sz="3088"/>
            </a:lvl1pPr>
            <a:lvl2pPr marL="756300" lvl="1" indent="-252100" defTabSz="1008400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2647"/>
            </a:lvl2pPr>
            <a:lvl3pPr marL="1260500" lvl="2" indent="-252100" defTabSz="1008400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2206"/>
            </a:lvl3pPr>
            <a:lvl4pPr marL="1764701" lvl="3" indent="-252100" defTabSz="1008400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5"/>
            </a:lvl4pPr>
            <a:lvl5pPr marL="2268901" lvl="4" indent="-252100" defTabSz="1008400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5"/>
            </a:lvl5pPr>
            <a:lvl6pPr marL="2773101" indent="-252100" defTabSz="1008400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5"/>
            </a:lvl6pPr>
            <a:lvl7pPr marL="3277301" indent="-252100" defTabSz="1008400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5"/>
            </a:lvl7pPr>
            <a:lvl8pPr marL="3781501" indent="-252100" defTabSz="1008400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5"/>
            </a:lvl8pPr>
            <a:lvl9pPr marL="4285701" indent="-252100" defTabSz="1008400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5"/>
            </a:lvl9pPr>
          </a:lstStyle>
          <a:p>
            <a:pPr marL="0" indent="0">
              <a:buNone/>
            </a:pPr>
            <a:endParaRPr lang="en-US" dirty="0"/>
          </a:p>
        </p:txBody>
      </p:sp>
      <p:sp>
        <p:nvSpPr>
          <p:cNvPr id="7" name="Rectangle 1"/>
          <p:cNvSpPr txBox="1"/>
          <p:nvPr>
            <p:custDataLst>
              <p:tags r:id="rId2"/>
            </p:custDataLst>
          </p:nvPr>
        </p:nvSpPr>
        <p:spPr>
          <a:xfrm>
            <a:off x="3670300" y="127508"/>
            <a:ext cx="3340100" cy="7327900"/>
          </a:xfrm>
          <a:prstGeom prst="rect">
            <a:avLst/>
          </a:prstGeom>
          <a:noFill/>
          <a:ln w="76200">
            <a:solidFill>
              <a:schemeClr val="bg1"/>
            </a:solidFill>
          </a:ln>
        </p:spPr>
        <p:txBody>
          <a:bodyPr vert="horz" lIns="76200" tIns="76200" rIns="76200" bIns="76200" rtlCol="0" anchor="t" anchorCtr="0">
            <a:noAutofit/>
          </a:bodyPr>
          <a:lstStyle>
            <a:lvl1pPr marL="252100" lvl="0" indent="-252100" defTabSz="1008400">
              <a:lnSpc>
                <a:spcPct val="90000"/>
              </a:lnSpc>
              <a:spcBef>
                <a:spcPts val="1103"/>
              </a:spcBef>
              <a:buFont typeface="Arial" panose="020B0604020202020204" pitchFamily="34" charset="0"/>
              <a:buChar char="•"/>
              <a:defRPr sz="3088"/>
            </a:lvl1pPr>
            <a:lvl2pPr marL="756300" lvl="1" indent="-252100" defTabSz="1008400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2647"/>
            </a:lvl2pPr>
            <a:lvl3pPr marL="1260500" lvl="2" indent="-252100" defTabSz="1008400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2206"/>
            </a:lvl3pPr>
            <a:lvl4pPr marL="1764701" lvl="3" indent="-252100" defTabSz="1008400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5"/>
            </a:lvl4pPr>
            <a:lvl5pPr marL="2268901" lvl="4" indent="-252100" defTabSz="1008400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5"/>
            </a:lvl5pPr>
            <a:lvl6pPr marL="2773101" indent="-252100" defTabSz="1008400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5"/>
            </a:lvl6pPr>
            <a:lvl7pPr marL="3277301" indent="-252100" defTabSz="1008400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5"/>
            </a:lvl7pPr>
            <a:lvl8pPr marL="3781501" indent="-252100" defTabSz="1008400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5"/>
            </a:lvl8pPr>
            <a:lvl9pPr marL="4285701" indent="-252100" defTabSz="1008400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5"/>
            </a:lvl9pPr>
          </a:lstStyle>
          <a:p>
            <a:pPr marL="0" indent="0">
              <a:buNone/>
            </a:pPr>
            <a:endParaRPr lang="en-US" dirty="0"/>
          </a:p>
        </p:txBody>
      </p:sp>
      <p:sp>
        <p:nvSpPr>
          <p:cNvPr id="8" name="Rectangle 1"/>
          <p:cNvSpPr txBox="1"/>
          <p:nvPr>
            <p:custDataLst>
              <p:tags r:id="rId3"/>
            </p:custDataLst>
          </p:nvPr>
        </p:nvSpPr>
        <p:spPr>
          <a:xfrm>
            <a:off x="7226300" y="127508"/>
            <a:ext cx="3340100" cy="7327900"/>
          </a:xfrm>
          <a:prstGeom prst="rect">
            <a:avLst/>
          </a:prstGeom>
          <a:noFill/>
          <a:ln w="76200">
            <a:solidFill>
              <a:schemeClr val="bg1"/>
            </a:solidFill>
          </a:ln>
        </p:spPr>
        <p:txBody>
          <a:bodyPr vert="horz" lIns="76200" tIns="76200" rIns="76200" bIns="76200" rtlCol="0" anchor="t" anchorCtr="0">
            <a:noAutofit/>
          </a:bodyPr>
          <a:lstStyle>
            <a:lvl1pPr marL="252100" lvl="0" indent="-252100" defTabSz="1008400">
              <a:lnSpc>
                <a:spcPct val="90000"/>
              </a:lnSpc>
              <a:spcBef>
                <a:spcPts val="1103"/>
              </a:spcBef>
              <a:buFont typeface="Arial" panose="020B0604020202020204" pitchFamily="34" charset="0"/>
              <a:buChar char="•"/>
              <a:defRPr sz="3088"/>
            </a:lvl1pPr>
            <a:lvl2pPr marL="756300" lvl="1" indent="-252100" defTabSz="1008400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2647"/>
            </a:lvl2pPr>
            <a:lvl3pPr marL="1260500" lvl="2" indent="-252100" defTabSz="1008400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2206"/>
            </a:lvl3pPr>
            <a:lvl4pPr marL="1764701" lvl="3" indent="-252100" defTabSz="1008400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5"/>
            </a:lvl4pPr>
            <a:lvl5pPr marL="2268901" lvl="4" indent="-252100" defTabSz="1008400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5"/>
            </a:lvl5pPr>
            <a:lvl6pPr marL="2773101" indent="-252100" defTabSz="1008400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5"/>
            </a:lvl6pPr>
            <a:lvl7pPr marL="3277301" indent="-252100" defTabSz="1008400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5"/>
            </a:lvl7pPr>
            <a:lvl8pPr marL="3781501" indent="-252100" defTabSz="1008400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5"/>
            </a:lvl8pPr>
            <a:lvl9pPr marL="4285701" indent="-252100" defTabSz="1008400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5"/>
            </a:lvl9pPr>
          </a:lstStyle>
          <a:p>
            <a:pPr marL="0" indent="0">
              <a:buNone/>
            </a:pPr>
            <a:endParaRPr lang="en-US" dirty="0"/>
          </a:p>
        </p:txBody>
      </p:sp>
      <p:cxnSp>
        <p:nvCxnSpPr>
          <p:cNvPr id="9" name="Straight Connector 8"/>
          <p:cNvCxnSpPr/>
          <p:nvPr/>
        </p:nvCxnSpPr>
        <p:spPr>
          <a:xfrm>
            <a:off x="7213600" y="1447800"/>
            <a:ext cx="3352800" cy="0"/>
          </a:xfrm>
          <a:prstGeom prst="line">
            <a:avLst/>
          </a:prstGeom>
          <a:ln w="762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/>
        </p:nvCxnSpPr>
        <p:spPr>
          <a:xfrm>
            <a:off x="7213600" y="6210300"/>
            <a:ext cx="3352800" cy="0"/>
          </a:xfrm>
          <a:prstGeom prst="line">
            <a:avLst/>
          </a:prstGeom>
          <a:ln w="762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40699" y="301496"/>
            <a:ext cx="1422401" cy="924561"/>
          </a:xfrm>
          <a:prstGeom prst="rect">
            <a:avLst/>
          </a:prstGeom>
          <a:ln>
            <a:noFill/>
          </a:ln>
          <a:effectLst>
            <a:outerShdw blurRad="76200" dir="13500000" sy="23000" kx="1200000" algn="br" rotWithShape="0">
              <a:prstClr val="black">
                <a:alpha val="20000"/>
              </a:prstClr>
            </a:outerShdw>
          </a:effectLst>
        </p:spPr>
      </p:pic>
      <p:pic>
        <p:nvPicPr>
          <p:cNvPr id="15" name="Picture 14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91472" y="6438900"/>
            <a:ext cx="2169316" cy="802876"/>
          </a:xfrm>
          <a:prstGeom prst="rect">
            <a:avLst/>
          </a:prstGeom>
          <a:ln>
            <a:noFill/>
          </a:ln>
          <a:effectLst>
            <a:outerShdw blurRad="76200" dir="13500000" sy="23000" kx="1200000" algn="br" rotWithShape="0">
              <a:prstClr val="black">
                <a:alpha val="20000"/>
              </a:prstClr>
            </a:outerShdw>
          </a:effectLst>
        </p:spPr>
      </p:pic>
      <p:sp>
        <p:nvSpPr>
          <p:cNvPr id="18" name="Rectangle 17"/>
          <p:cNvSpPr txBox="1"/>
          <p:nvPr>
            <p:custDataLst>
              <p:tags r:id="rId4"/>
            </p:custDataLst>
          </p:nvPr>
        </p:nvSpPr>
        <p:spPr>
          <a:xfrm>
            <a:off x="4394200" y="301496"/>
            <a:ext cx="2451100" cy="46228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lIns="76200" tIns="76200" rIns="76200" bIns="76200" rtlCol="0" anchor="t" anchorCtr="0">
            <a:noAutofit/>
          </a:bodyPr>
          <a:lstStyle>
            <a:lvl1pPr marL="252100" lvl="0" indent="-252100" defTabSz="1008400">
              <a:lnSpc>
                <a:spcPct val="90000"/>
              </a:lnSpc>
              <a:spcBef>
                <a:spcPts val="1103"/>
              </a:spcBef>
              <a:buFont typeface="Arial" panose="020B0604020202020204" pitchFamily="34" charset="0"/>
              <a:buChar char="•"/>
              <a:defRPr sz="3088"/>
            </a:lvl1pPr>
            <a:lvl2pPr marL="756300" lvl="1" indent="-252100" defTabSz="1008400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2647"/>
            </a:lvl2pPr>
            <a:lvl3pPr marL="1260500" lvl="2" indent="-252100" defTabSz="1008400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2206"/>
            </a:lvl3pPr>
            <a:lvl4pPr marL="1764701" lvl="3" indent="-252100" defTabSz="1008400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5"/>
            </a:lvl4pPr>
            <a:lvl5pPr marL="2268901" lvl="4" indent="-252100" defTabSz="1008400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5"/>
            </a:lvl5pPr>
            <a:lvl6pPr marL="2773101" indent="-252100" defTabSz="1008400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5"/>
            </a:lvl6pPr>
            <a:lvl7pPr marL="3277301" indent="-252100" defTabSz="1008400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5"/>
            </a:lvl7pPr>
            <a:lvl8pPr marL="3781501" indent="-252100" defTabSz="1008400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5"/>
            </a:lvl8pPr>
            <a:lvl9pPr marL="4285701" indent="-252100" defTabSz="1008400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5"/>
            </a:lvl9pPr>
          </a:lstStyle>
          <a:p>
            <a:pPr marL="0" indent="0">
              <a:buNone/>
            </a:pPr>
            <a:endParaRPr lang="en-US" dirty="0"/>
          </a:p>
        </p:txBody>
      </p:sp>
      <p:sp>
        <p:nvSpPr>
          <p:cNvPr id="20" name="Rectangle 17"/>
          <p:cNvSpPr txBox="1"/>
          <p:nvPr>
            <p:custDataLst>
              <p:tags r:id="rId5"/>
            </p:custDataLst>
          </p:nvPr>
        </p:nvSpPr>
        <p:spPr>
          <a:xfrm>
            <a:off x="3801270" y="301496"/>
            <a:ext cx="592930" cy="46228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txBody>
          <a:bodyPr vert="horz" lIns="76200" tIns="76200" rIns="76200" bIns="76200" rtlCol="0" anchor="t" anchorCtr="0">
            <a:noAutofit/>
          </a:bodyPr>
          <a:lstStyle>
            <a:lvl1pPr marL="252100" lvl="0" indent="-252100" defTabSz="1008400">
              <a:lnSpc>
                <a:spcPct val="90000"/>
              </a:lnSpc>
              <a:spcBef>
                <a:spcPts val="1103"/>
              </a:spcBef>
              <a:buFont typeface="Arial" panose="020B0604020202020204" pitchFamily="34" charset="0"/>
              <a:buChar char="•"/>
              <a:defRPr sz="3088"/>
            </a:lvl1pPr>
            <a:lvl2pPr marL="756300" lvl="1" indent="-252100" defTabSz="1008400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2647"/>
            </a:lvl2pPr>
            <a:lvl3pPr marL="1260500" lvl="2" indent="-252100" defTabSz="1008400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2206"/>
            </a:lvl3pPr>
            <a:lvl4pPr marL="1764701" lvl="3" indent="-252100" defTabSz="1008400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5"/>
            </a:lvl4pPr>
            <a:lvl5pPr marL="2268901" lvl="4" indent="-252100" defTabSz="1008400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5"/>
            </a:lvl5pPr>
            <a:lvl6pPr marL="2773101" indent="-252100" defTabSz="1008400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5"/>
            </a:lvl6pPr>
            <a:lvl7pPr marL="3277301" indent="-252100" defTabSz="1008400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5"/>
            </a:lvl7pPr>
            <a:lvl8pPr marL="3781501" indent="-252100" defTabSz="1008400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5"/>
            </a:lvl8pPr>
            <a:lvl9pPr marL="4285701" indent="-252100" defTabSz="1008400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5"/>
            </a:lvl9pPr>
          </a:lstStyle>
          <a:p>
            <a:pPr marL="0" indent="0">
              <a:buNone/>
            </a:pPr>
            <a:endParaRPr lang="en-US" dirty="0"/>
          </a:p>
        </p:txBody>
      </p:sp>
      <p:sp>
        <p:nvSpPr>
          <p:cNvPr id="19" name="TextBox 18"/>
          <p:cNvSpPr txBox="1"/>
          <p:nvPr/>
        </p:nvSpPr>
        <p:spPr>
          <a:xfrm>
            <a:off x="5867400" y="339044"/>
            <a:ext cx="1155700" cy="424732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252100" lvl="0" indent="-252100" defTabSz="1008400">
              <a:lnSpc>
                <a:spcPct val="90000"/>
              </a:lnSpc>
              <a:spcBef>
                <a:spcPts val="1103"/>
              </a:spcBef>
              <a:buFont typeface="Arial" panose="020B0604020202020204" pitchFamily="34" charset="0"/>
              <a:buChar char="•"/>
              <a:defRPr sz="3088"/>
            </a:lvl1pPr>
            <a:lvl2pPr marL="756300" lvl="1" indent="-252100" defTabSz="1008400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2647"/>
            </a:lvl2pPr>
            <a:lvl3pPr marL="1260500" lvl="2" indent="-252100" defTabSz="1008400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2206"/>
            </a:lvl3pPr>
            <a:lvl4pPr marL="1764701" lvl="3" indent="-252100" defTabSz="1008400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5"/>
            </a:lvl4pPr>
            <a:lvl5pPr marL="2268901" lvl="4" indent="-252100" defTabSz="1008400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5"/>
            </a:lvl5pPr>
            <a:lvl6pPr marL="2773101" indent="-252100" defTabSz="1008400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5"/>
            </a:lvl6pPr>
            <a:lvl7pPr marL="3277301" indent="-252100" defTabSz="1008400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5"/>
            </a:lvl7pPr>
            <a:lvl8pPr marL="3781501" indent="-252100" defTabSz="1008400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5"/>
            </a:lvl8pPr>
            <a:lvl9pPr marL="4285701" indent="-252100" defTabSz="1008400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5"/>
            </a:lvl9pPr>
          </a:lstStyle>
          <a:p>
            <a:pPr marL="0" indent="0">
              <a:buNone/>
            </a:pPr>
            <a:r>
              <a:rPr lang="en-US" sz="2400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eam</a:t>
            </a:r>
            <a:endParaRPr lang="en-US" dirty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4531542" y="3509580"/>
            <a:ext cx="2478858" cy="3894912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252100" lvl="0" indent="-252100" defTabSz="1008400">
              <a:lnSpc>
                <a:spcPct val="90000"/>
              </a:lnSpc>
              <a:spcBef>
                <a:spcPts val="1103"/>
              </a:spcBef>
              <a:buFont typeface="Arial" panose="020B0604020202020204" pitchFamily="34" charset="0"/>
              <a:buChar char="•"/>
              <a:defRPr sz="3088"/>
            </a:lvl1pPr>
            <a:lvl2pPr marL="756300" lvl="1" indent="-252100" defTabSz="1008400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2647"/>
            </a:lvl2pPr>
            <a:lvl3pPr marL="1260500" lvl="2" indent="-252100" defTabSz="1008400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2206"/>
            </a:lvl3pPr>
            <a:lvl4pPr marL="1764701" lvl="3" indent="-252100" defTabSz="1008400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5"/>
            </a:lvl4pPr>
            <a:lvl5pPr marL="2268901" lvl="4" indent="-252100" defTabSz="1008400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5"/>
            </a:lvl5pPr>
            <a:lvl6pPr marL="2773101" indent="-252100" defTabSz="1008400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5"/>
            </a:lvl6pPr>
            <a:lvl7pPr marL="3277301" indent="-252100" defTabSz="1008400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5"/>
            </a:lvl7pPr>
            <a:lvl8pPr marL="3781501" indent="-252100" defTabSz="1008400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5"/>
            </a:lvl8pPr>
            <a:lvl9pPr marL="4285701" indent="-252100" defTabSz="1008400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5"/>
            </a:lvl9pPr>
          </a:lstStyle>
          <a:p>
            <a:pPr marL="0" indent="0">
              <a:buNone/>
            </a:pPr>
            <a:r>
              <a:rPr lang="en-US" sz="1900" b="1" dirty="0">
                <a:solidFill>
                  <a:schemeClr val="bg1"/>
                </a:solidFill>
              </a:rPr>
              <a:t>Jean-Claude Franchitti</a:t>
            </a:r>
            <a:endParaRPr lang="en-US" sz="1900" b="1" dirty="0" smtClean="0">
              <a:solidFill>
                <a:schemeClr val="bg1"/>
              </a:solidFill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sz="1400" dirty="0" smtClean="0">
                <a:solidFill>
                  <a:schemeClr val="bg1"/>
                </a:solidFill>
              </a:rPr>
              <a:t>jcf@cs.nyu.edu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dirty="0" smtClean="0">
                <a:solidFill>
                  <a:schemeClr val="bg1"/>
                </a:solidFill>
              </a:rPr>
              <a:t>Head of Department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dirty="0" smtClean="0">
                <a:solidFill>
                  <a:schemeClr val="bg1"/>
                </a:solidFill>
              </a:rPr>
              <a:t>Information Systems, NYU</a:t>
            </a:r>
            <a:endParaRPr lang="en-US" sz="1400" dirty="0">
              <a:solidFill>
                <a:schemeClr val="bg1"/>
              </a:solidFill>
            </a:endParaRPr>
          </a:p>
          <a:p>
            <a:pPr marL="0" indent="0">
              <a:buNone/>
            </a:pPr>
            <a:r>
              <a:rPr lang="en-US" sz="1900" b="1" dirty="0" smtClean="0">
                <a:solidFill>
                  <a:schemeClr val="bg1"/>
                </a:solidFill>
              </a:rPr>
              <a:t>Kinjan Dusara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dirty="0" smtClean="0">
                <a:solidFill>
                  <a:schemeClr val="bg1"/>
                </a:solidFill>
              </a:rPr>
              <a:t>MSIS, 2015</a:t>
            </a:r>
            <a:endParaRPr lang="en-US" sz="1900" dirty="0" smtClean="0">
              <a:solidFill>
                <a:schemeClr val="bg1"/>
              </a:solidFill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sz="1400" dirty="0" smtClean="0">
                <a:solidFill>
                  <a:schemeClr val="bg1"/>
                </a:solidFill>
              </a:rPr>
              <a:t>kinjan.dusara@nyu.edu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dirty="0" smtClean="0">
                <a:solidFill>
                  <a:schemeClr val="bg1"/>
                </a:solidFill>
              </a:rPr>
              <a:t>Intern at Cablevision</a:t>
            </a:r>
          </a:p>
          <a:p>
            <a:pPr marL="0" indent="0">
              <a:buNone/>
            </a:pPr>
            <a:r>
              <a:rPr lang="en-US" sz="1900" b="1" dirty="0" smtClean="0">
                <a:solidFill>
                  <a:schemeClr val="bg1"/>
                </a:solidFill>
              </a:rPr>
              <a:t>Krishan Dadlani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dirty="0">
                <a:solidFill>
                  <a:schemeClr val="bg1"/>
                </a:solidFill>
              </a:rPr>
              <a:t>MSIS, </a:t>
            </a:r>
            <a:r>
              <a:rPr lang="en-US" sz="1400" dirty="0" smtClean="0">
                <a:solidFill>
                  <a:schemeClr val="bg1"/>
                </a:solidFill>
              </a:rPr>
              <a:t>2015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dirty="0" smtClean="0">
                <a:solidFill>
                  <a:schemeClr val="bg1"/>
                </a:solidFill>
              </a:rPr>
              <a:t>krishan.dadlani@nyu.edu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dirty="0" smtClean="0">
                <a:solidFill>
                  <a:schemeClr val="bg1"/>
                </a:solidFill>
              </a:rPr>
              <a:t>Intern at McKinsey&amp;Company</a:t>
            </a:r>
          </a:p>
          <a:p>
            <a:pPr marL="0" indent="0">
              <a:buNone/>
            </a:pPr>
            <a:r>
              <a:rPr lang="en-US" sz="1900" b="1" dirty="0" smtClean="0">
                <a:solidFill>
                  <a:schemeClr val="bg1"/>
                </a:solidFill>
              </a:rPr>
              <a:t>Vinutna Vintha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dirty="0">
                <a:solidFill>
                  <a:schemeClr val="bg1"/>
                </a:solidFill>
              </a:rPr>
              <a:t>MSIS, </a:t>
            </a:r>
            <a:r>
              <a:rPr lang="en-US" sz="1400" dirty="0" smtClean="0">
                <a:solidFill>
                  <a:schemeClr val="bg1"/>
                </a:solidFill>
              </a:rPr>
              <a:t>2015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dirty="0" smtClean="0">
                <a:solidFill>
                  <a:schemeClr val="bg1"/>
                </a:solidFill>
              </a:rPr>
              <a:t>vinutna.vintha@nyu.edu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dirty="0">
                <a:solidFill>
                  <a:schemeClr val="bg1"/>
                </a:solidFill>
              </a:rPr>
              <a:t>Intern at Kuehne + Nagel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3801270" y="891283"/>
            <a:ext cx="3044030" cy="2327304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252100" lvl="0" indent="-252100" defTabSz="1008400">
              <a:lnSpc>
                <a:spcPct val="90000"/>
              </a:lnSpc>
              <a:spcBef>
                <a:spcPts val="1103"/>
              </a:spcBef>
              <a:buFont typeface="Arial" panose="020B0604020202020204" pitchFamily="34" charset="0"/>
              <a:buChar char="•"/>
              <a:defRPr sz="3088"/>
            </a:lvl1pPr>
            <a:lvl2pPr marL="756300" lvl="1" indent="-252100" defTabSz="1008400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2647"/>
            </a:lvl2pPr>
            <a:lvl3pPr marL="1260500" lvl="2" indent="-252100" defTabSz="1008400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2206"/>
            </a:lvl3pPr>
            <a:lvl4pPr marL="1764701" lvl="3" indent="-252100" defTabSz="1008400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5"/>
            </a:lvl4pPr>
            <a:lvl5pPr marL="2268901" lvl="4" indent="-252100" defTabSz="1008400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5"/>
            </a:lvl5pPr>
            <a:lvl6pPr marL="2773101" indent="-252100" defTabSz="1008400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5"/>
            </a:lvl6pPr>
            <a:lvl7pPr marL="3277301" indent="-252100" defTabSz="1008400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5"/>
            </a:lvl7pPr>
            <a:lvl8pPr marL="3781501" indent="-252100" defTabSz="1008400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5"/>
            </a:lvl8pPr>
            <a:lvl9pPr marL="4285701" indent="-252100" defTabSz="1008400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5"/>
            </a:lvl9pPr>
          </a:lstStyle>
          <a:p>
            <a:pPr marL="0" indent="0">
              <a:buNone/>
            </a:pPr>
            <a:r>
              <a:rPr lang="en-US" sz="1900" b="1" dirty="0" smtClean="0">
                <a:solidFill>
                  <a:schemeClr val="bg1"/>
                </a:solidFill>
              </a:rPr>
              <a:t>Nicholas Delauney 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dirty="0" smtClean="0">
                <a:solidFill>
                  <a:schemeClr val="bg1"/>
                </a:solidFill>
              </a:rPr>
              <a:t>nicholas.delauney@citi.com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dirty="0" smtClean="0">
                <a:solidFill>
                  <a:schemeClr val="bg1"/>
                </a:solidFill>
              </a:rPr>
              <a:t>Project Coordinator</a:t>
            </a:r>
          </a:p>
          <a:p>
            <a:pPr marL="0" indent="0">
              <a:buNone/>
            </a:pPr>
            <a:r>
              <a:rPr lang="en-US" sz="1900" b="1" dirty="0" smtClean="0">
                <a:solidFill>
                  <a:schemeClr val="bg1"/>
                </a:solidFill>
              </a:rPr>
              <a:t>Mike Culshaw  </a:t>
            </a:r>
            <a:r>
              <a:rPr lang="en-US" sz="1400" dirty="0" smtClean="0">
                <a:solidFill>
                  <a:schemeClr val="bg1"/>
                </a:solidFill>
              </a:rPr>
              <a:t>mike.culshaw@citi.com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dirty="0">
                <a:solidFill>
                  <a:schemeClr val="bg1"/>
                </a:solidFill>
              </a:rPr>
              <a:t>Project </a:t>
            </a:r>
            <a:r>
              <a:rPr lang="en-US" sz="1400" dirty="0" smtClean="0">
                <a:solidFill>
                  <a:schemeClr val="bg1"/>
                </a:solidFill>
              </a:rPr>
              <a:t>Leader</a:t>
            </a:r>
          </a:p>
          <a:p>
            <a:pPr marL="0" indent="0">
              <a:buNone/>
            </a:pPr>
            <a:r>
              <a:rPr lang="en-US" sz="1900" b="1" dirty="0" smtClean="0">
                <a:solidFill>
                  <a:schemeClr val="bg1"/>
                </a:solidFill>
              </a:rPr>
              <a:t>Pierce Currid  </a:t>
            </a:r>
            <a:r>
              <a:rPr lang="en-US" sz="1400" dirty="0" smtClean="0">
                <a:solidFill>
                  <a:schemeClr val="bg1"/>
                </a:solidFill>
              </a:rPr>
              <a:t>pierce.currid@citi.com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dirty="0">
                <a:solidFill>
                  <a:schemeClr val="bg1"/>
                </a:solidFill>
              </a:rPr>
              <a:t>Project </a:t>
            </a:r>
            <a:r>
              <a:rPr lang="en-US" sz="1400" dirty="0" smtClean="0">
                <a:solidFill>
                  <a:schemeClr val="bg1"/>
                </a:solidFill>
              </a:rPr>
              <a:t>Manager</a:t>
            </a:r>
            <a:endParaRPr lang="en-US" sz="1400" dirty="0">
              <a:solidFill>
                <a:schemeClr val="bg1"/>
              </a:solidFill>
            </a:endParaRPr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84037" y="937764"/>
            <a:ext cx="652431" cy="468074"/>
          </a:xfrm>
          <a:prstGeom prst="rect">
            <a:avLst/>
          </a:prstGeom>
          <a:ln>
            <a:noFill/>
          </a:ln>
          <a:effectLst/>
        </p:spPr>
      </p:pic>
      <p:pic>
        <p:nvPicPr>
          <p:cNvPr id="17" name="Picture 16"/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2697"/>
          <a:stretch/>
        </p:blipFill>
        <p:spPr>
          <a:xfrm>
            <a:off x="3722318" y="3509580"/>
            <a:ext cx="809224" cy="802876"/>
          </a:xfrm>
          <a:prstGeom prst="rect">
            <a:avLst/>
          </a:prstGeom>
          <a:ln>
            <a:noFill/>
          </a:ln>
          <a:effectLst/>
        </p:spPr>
      </p:pic>
      <p:sp>
        <p:nvSpPr>
          <p:cNvPr id="3" name="TextBox 2"/>
          <p:cNvSpPr txBox="1"/>
          <p:nvPr/>
        </p:nvSpPr>
        <p:spPr>
          <a:xfrm>
            <a:off x="7670342" y="3489863"/>
            <a:ext cx="2363114" cy="590931"/>
          </a:xfrm>
          <a:prstGeom prst="rect">
            <a:avLst/>
          </a:prstGeom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rtlCol="0">
            <a:spAutoFit/>
          </a:bodyPr>
          <a:lstStyle>
            <a:lvl1pPr marL="252100" lvl="0" indent="-252100" defTabSz="1008400">
              <a:lnSpc>
                <a:spcPct val="90000"/>
              </a:lnSpc>
              <a:spcBef>
                <a:spcPts val="1103"/>
              </a:spcBef>
              <a:buFont typeface="Arial" panose="020B0604020202020204" pitchFamily="34" charset="0"/>
              <a:buChar char="•"/>
              <a:defRPr sz="3088"/>
            </a:lvl1pPr>
            <a:lvl2pPr marL="756300" lvl="1" indent="-252100" defTabSz="1008400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2647"/>
            </a:lvl2pPr>
            <a:lvl3pPr marL="1260500" lvl="2" indent="-252100" defTabSz="1008400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2206"/>
            </a:lvl3pPr>
            <a:lvl4pPr marL="1764701" lvl="3" indent="-252100" defTabSz="1008400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5"/>
            </a:lvl4pPr>
            <a:lvl5pPr marL="2268901" lvl="4" indent="-252100" defTabSz="1008400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5"/>
            </a:lvl5pPr>
            <a:lvl6pPr marL="2773101" indent="-252100" defTabSz="1008400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5"/>
            </a:lvl6pPr>
            <a:lvl7pPr marL="3277301" indent="-252100" defTabSz="1008400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5"/>
            </a:lvl7pPr>
            <a:lvl8pPr marL="3781501" indent="-252100" defTabSz="1008400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5"/>
            </a:lvl8pPr>
            <a:lvl9pPr marL="4285701" indent="-252100" defTabSz="1008400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5"/>
            </a:lvl9pPr>
          </a:lstStyle>
          <a:p>
            <a:pPr marL="0" indent="0">
              <a:buNone/>
            </a:pPr>
            <a:r>
              <a:rPr lang="en-US" sz="3600" b="1" dirty="0" smtClean="0">
                <a:solidFill>
                  <a:schemeClr val="bg1"/>
                </a:solidFill>
              </a:rPr>
              <a:t>Social BPM</a:t>
            </a:r>
            <a:endParaRPr lang="en-US" sz="36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3710444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895425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23" name="think-cell Slide" r:id="rId6" imgW="493" imgH="493" progId="TCLayout.ActiveDocument.1">
                  <p:embed/>
                </p:oleObj>
              </mc:Choice>
              <mc:Fallback>
                <p:oleObj name="think-cell Slide" r:id="rId6" imgW="493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5. Source"/>
          <p:cNvSpPr>
            <a:spLocks noChangeArrowheads="1"/>
          </p:cNvSpPr>
          <p:nvPr/>
        </p:nvSpPr>
        <p:spPr bwMode="auto">
          <a:xfrm>
            <a:off x="-1246914" y="7096343"/>
            <a:ext cx="7568101" cy="1697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pPr marL="672267" indent="-672267" defTabSz="987392">
              <a:tabLst>
                <a:tab pos="675768" algn="l"/>
              </a:tabLst>
            </a:pPr>
            <a:r>
              <a:rPr lang="en-US" sz="1103"/>
              <a:t>SOURCE: </a:t>
            </a:r>
            <a:endParaRPr lang="en-US" sz="1103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0" y="0"/>
            <a:ext cx="10688638" cy="7562850"/>
          </a:xfrm>
          <a:prstGeom prst="rect">
            <a:avLst/>
          </a:prstGeom>
        </p:spPr>
      </p:pic>
      <p:sp>
        <p:nvSpPr>
          <p:cNvPr id="2" name="Rectangle 1"/>
          <p:cNvSpPr txBox="1"/>
          <p:nvPr>
            <p:custDataLst>
              <p:tags r:id="rId3"/>
            </p:custDataLst>
          </p:nvPr>
        </p:nvSpPr>
        <p:spPr>
          <a:xfrm>
            <a:off x="127000" y="127508"/>
            <a:ext cx="3340100" cy="7327900"/>
          </a:xfrm>
          <a:prstGeom prst="rect">
            <a:avLst/>
          </a:prstGeom>
          <a:noFill/>
          <a:ln w="76200">
            <a:solidFill>
              <a:schemeClr val="bg1"/>
            </a:solidFill>
          </a:ln>
        </p:spPr>
        <p:txBody>
          <a:bodyPr vert="horz" lIns="76200" tIns="76200" rIns="76200" bIns="76200" rtlCol="0" anchor="t" anchorCtr="0">
            <a:noAutofit/>
          </a:bodyPr>
          <a:lstStyle>
            <a:lvl1pPr marL="252100" lvl="0" indent="-252100" defTabSz="1008400">
              <a:lnSpc>
                <a:spcPct val="90000"/>
              </a:lnSpc>
              <a:spcBef>
                <a:spcPts val="1103"/>
              </a:spcBef>
              <a:buFont typeface="Arial" panose="020B0604020202020204" pitchFamily="34" charset="0"/>
              <a:buChar char="•"/>
              <a:defRPr sz="3088"/>
            </a:lvl1pPr>
            <a:lvl2pPr marL="756300" lvl="1" indent="-252100" defTabSz="1008400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2647"/>
            </a:lvl2pPr>
            <a:lvl3pPr marL="1260500" lvl="2" indent="-252100" defTabSz="1008400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2206"/>
            </a:lvl3pPr>
            <a:lvl4pPr marL="1764701" lvl="3" indent="-252100" defTabSz="1008400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5"/>
            </a:lvl4pPr>
            <a:lvl5pPr marL="2268901" lvl="4" indent="-252100" defTabSz="1008400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5"/>
            </a:lvl5pPr>
            <a:lvl6pPr marL="2773101" indent="-252100" defTabSz="1008400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5"/>
            </a:lvl6pPr>
            <a:lvl7pPr marL="3277301" indent="-252100" defTabSz="1008400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5"/>
            </a:lvl7pPr>
            <a:lvl8pPr marL="3781501" indent="-252100" defTabSz="1008400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5"/>
            </a:lvl8pPr>
            <a:lvl9pPr marL="4285701" indent="-252100" defTabSz="1008400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5"/>
            </a:lvl9pPr>
          </a:lstStyle>
          <a:p>
            <a:pPr marL="0" indent="0">
              <a:buNone/>
            </a:pPr>
            <a:endParaRPr lang="en-US" dirty="0"/>
          </a:p>
        </p:txBody>
      </p:sp>
      <p:sp>
        <p:nvSpPr>
          <p:cNvPr id="7" name="Rectangle 1"/>
          <p:cNvSpPr txBox="1"/>
          <p:nvPr>
            <p:custDataLst>
              <p:tags r:id="rId4"/>
            </p:custDataLst>
          </p:nvPr>
        </p:nvSpPr>
        <p:spPr>
          <a:xfrm>
            <a:off x="3670299" y="127508"/>
            <a:ext cx="6837279" cy="7327900"/>
          </a:xfrm>
          <a:prstGeom prst="rect">
            <a:avLst/>
          </a:prstGeom>
          <a:noFill/>
          <a:ln w="76200">
            <a:solidFill>
              <a:schemeClr val="bg1"/>
            </a:solidFill>
          </a:ln>
        </p:spPr>
        <p:txBody>
          <a:bodyPr vert="horz" lIns="76200" tIns="76200" rIns="76200" bIns="76200" rtlCol="0" anchor="t" anchorCtr="0">
            <a:noAutofit/>
          </a:bodyPr>
          <a:lstStyle>
            <a:lvl1pPr marL="252100" lvl="0" indent="-252100" defTabSz="1008400">
              <a:lnSpc>
                <a:spcPct val="90000"/>
              </a:lnSpc>
              <a:spcBef>
                <a:spcPts val="1103"/>
              </a:spcBef>
              <a:buFont typeface="Arial" panose="020B0604020202020204" pitchFamily="34" charset="0"/>
              <a:buChar char="•"/>
              <a:defRPr sz="3088"/>
            </a:lvl1pPr>
            <a:lvl2pPr marL="756300" lvl="1" indent="-252100" defTabSz="1008400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2647"/>
            </a:lvl2pPr>
            <a:lvl3pPr marL="1260500" lvl="2" indent="-252100" defTabSz="1008400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2206"/>
            </a:lvl3pPr>
            <a:lvl4pPr marL="1764701" lvl="3" indent="-252100" defTabSz="1008400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5"/>
            </a:lvl4pPr>
            <a:lvl5pPr marL="2268901" lvl="4" indent="-252100" defTabSz="1008400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5"/>
            </a:lvl5pPr>
            <a:lvl6pPr marL="2773101" indent="-252100" defTabSz="1008400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5"/>
            </a:lvl6pPr>
            <a:lvl7pPr marL="3277301" indent="-252100" defTabSz="1008400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5"/>
            </a:lvl7pPr>
            <a:lvl8pPr marL="3781501" indent="-252100" defTabSz="1008400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5"/>
            </a:lvl8pPr>
            <a:lvl9pPr marL="4285701" indent="-252100" defTabSz="1008400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5"/>
            </a:lvl9pPr>
          </a:lstStyle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3204026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ISNEWSLIDENUMBER" val="False"/>
  <p:tag name="PREVIOUSNAME" val="C:\Users\Krishan Dadlani\WebstormProjects\social-bpm\imp-docs\flyer\flyer.pptx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heme/theme1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292</TotalTime>
  <Words>59</Words>
  <Application>Microsoft Office PowerPoint</Application>
  <PresentationFormat>Custom</PresentationFormat>
  <Paragraphs>26</Paragraphs>
  <Slides>2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8" baseType="lpstr">
      <vt:lpstr>Arial</vt:lpstr>
      <vt:lpstr>Calibri</vt:lpstr>
      <vt:lpstr>Calibri Light</vt:lpstr>
      <vt:lpstr>Tahoma</vt:lpstr>
      <vt:lpstr>Office Theme</vt:lpstr>
      <vt:lpstr>think-cell Slide</vt:lpstr>
      <vt:lpstr>PowerPoint Presentation</vt:lpstr>
      <vt:lpstr>PowerPoint Presentation</vt:lpstr>
    </vt:vector>
  </TitlesOfParts>
  <Company>McK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Krishan Dadlani</dc:creator>
  <cp:lastModifiedBy>Krishan Dadlani</cp:lastModifiedBy>
  <cp:revision>93</cp:revision>
  <cp:lastPrinted>2016-08-03T21:40:19Z</cp:lastPrinted>
  <dcterms:created xsi:type="dcterms:W3CDTF">2016-08-02T16:47:37Z</dcterms:created>
  <dcterms:modified xsi:type="dcterms:W3CDTF">2016-08-04T00:05:11Z</dcterms:modified>
</cp:coreProperties>
</file>